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15" r:id="rId5"/>
  </p:sldMasterIdLst>
  <p:notesMasterIdLst>
    <p:notesMasterId r:id="rId18"/>
  </p:notesMasterIdLst>
  <p:handoutMasterIdLst>
    <p:handoutMasterId r:id="rId19"/>
  </p:handoutMasterIdLst>
  <p:sldIdLst>
    <p:sldId id="430" r:id="rId6"/>
    <p:sldId id="426" r:id="rId7"/>
    <p:sldId id="438" r:id="rId8"/>
    <p:sldId id="449" r:id="rId9"/>
    <p:sldId id="450" r:id="rId10"/>
    <p:sldId id="455" r:id="rId11"/>
    <p:sldId id="448" r:id="rId12"/>
    <p:sldId id="452" r:id="rId13"/>
    <p:sldId id="453" r:id="rId14"/>
    <p:sldId id="454" r:id="rId15"/>
    <p:sldId id="451" r:id="rId16"/>
    <p:sldId id="354" r:id="rId17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5">
          <p15:clr>
            <a:srgbClr val="A4A3A4"/>
          </p15:clr>
        </p15:guide>
        <p15:guide id="2" orient="horz" pos="2845">
          <p15:clr>
            <a:srgbClr val="A4A3A4"/>
          </p15:clr>
        </p15:guide>
        <p15:guide id="3" pos="226">
          <p15:clr>
            <a:srgbClr val="A4A3A4"/>
          </p15:clr>
        </p15:guide>
        <p15:guide id="4" pos="5602">
          <p15:clr>
            <a:srgbClr val="A4A3A4"/>
          </p15:clr>
        </p15:guide>
        <p15:guide id="5" pos="2857">
          <p15:clr>
            <a:srgbClr val="A4A3A4"/>
          </p15:clr>
        </p15:guide>
        <p15:guide id="6" pos="2971">
          <p15:clr>
            <a:srgbClr val="A4A3A4"/>
          </p15:clr>
        </p15:guide>
        <p15:guide id="7" orient="horz" pos="554" userDrawn="1">
          <p15:clr>
            <a:srgbClr val="A4A3A4"/>
          </p15:clr>
        </p15:guide>
        <p15:guide id="8" orient="horz" pos="1461" userDrawn="1">
          <p15:clr>
            <a:srgbClr val="A4A3A4"/>
          </p15:clr>
        </p15:guide>
        <p15:guide id="9" orient="horz" pos="8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ter, Alexander" initials="WA" lastIdx="1" clrIdx="0">
    <p:extLst>
      <p:ext uri="{19B8F6BF-5375-455C-9EA6-DF929625EA0E}">
        <p15:presenceInfo xmlns:p15="http://schemas.microsoft.com/office/powerpoint/2012/main" userId="S-1-5-21-2000478354-764733703-1177238915-3365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67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542" y="91"/>
      </p:cViewPr>
      <p:guideLst>
        <p:guide orient="horz" pos="735"/>
        <p:guide orient="horz" pos="2845"/>
        <p:guide pos="226"/>
        <p:guide pos="5602"/>
        <p:guide pos="2857"/>
        <p:guide pos="2971"/>
        <p:guide orient="horz" pos="554"/>
        <p:guide orient="horz" pos="1461"/>
        <p:guide orient="horz" pos="8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880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DD8AF8-2E56-4547-84F9-96057233AD14}" type="datetimeFigureOut">
              <a:rPr lang="en-GB" smtClean="0"/>
              <a:t>23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FC58F0-E75D-4808-B697-027AE36503B0}" type="slidenum">
              <a:rPr lang="en-GB" smtClean="0"/>
              <a:t>‹Nr.›</a:t>
            </a:fld>
            <a:endParaRPr lang="en-GB"/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595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48D5E8-D97F-4DA3-9E02-1D4E7239C906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EEAA9B-7186-463C-842C-219271E656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022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mgehungslösung bei DDR-Zeiten vorhanden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4822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mgehungslösung bei DDR-Zeiten vorhanden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464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inweis auf die</a:t>
            </a:r>
            <a:r>
              <a:rPr lang="de-DE" baseline="0" dirty="0" smtClean="0"/>
              <a:t> beiden Reiter zum neuen und alten Rech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748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243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Bei Bundeslandwechsel muss keine neue Dienstzeit eingegeben werden, wenn der Neustart direkt im Anschluss an das vorherige Bundesland lieg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3507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fld id="{4D022E94-95EF-410E-97C0-19E40EAB3F8E}" type="datetime1">
              <a:rPr lang="de-DE" smtClean="0"/>
              <a:t>26.10.2020</a:t>
            </a:fld>
            <a:r>
              <a:rPr lang="de-DE" dirty="0" smtClean="0"/>
              <a:t>|  Hamburg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2" y="2067694"/>
            <a:ext cx="3456384" cy="923330"/>
          </a:xfrm>
        </p:spPr>
        <p:txBody>
          <a:bodyPr/>
          <a:lstStyle>
            <a:lvl1pPr marL="0" indent="0" algn="l"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0745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>
            <a:lvl1pPr>
              <a:defRPr b="0"/>
            </a:lvl1pPr>
          </a:lstStyle>
          <a:p>
            <a:r>
              <a:rPr lang="de-DE" dirty="0" smtClean="0"/>
              <a:t>Versorgungsrechner on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Datenland Architektursimulation / Erik Recke</a:t>
            </a:r>
          </a:p>
        </p:txBody>
      </p:sp>
    </p:spTree>
    <p:extLst>
      <p:ext uri="{BB962C8B-B14F-4D97-AF65-F5344CB8AC3E}">
        <p14:creationId xmlns:p14="http://schemas.microsoft.com/office/powerpoint/2010/main" val="7465609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5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Versorgungsrechner on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Andreas Vallbracht</a:t>
            </a:r>
          </a:p>
        </p:txBody>
      </p:sp>
    </p:spTree>
    <p:extLst>
      <p:ext uri="{BB962C8B-B14F-4D97-AF65-F5344CB8AC3E}">
        <p14:creationId xmlns:p14="http://schemas.microsoft.com/office/powerpoint/2010/main" val="2613943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879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2260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35637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287933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8534400" cy="1548953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567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85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668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33764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529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4778322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2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04185" y="766547"/>
            <a:ext cx="3960000" cy="1477328"/>
          </a:xfrm>
        </p:spPr>
        <p:txBody>
          <a:bodyPr/>
          <a:lstStyle>
            <a:lvl1pPr>
              <a:spcBef>
                <a:spcPts val="0"/>
              </a:spcBef>
              <a:defRPr sz="3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6205" y="4516438"/>
            <a:ext cx="4172055" cy="123111"/>
          </a:xfrm>
        </p:spPr>
        <p:txBody>
          <a:bodyPr tIns="0" bIns="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394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1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031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Bildplatzhalter 31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075120"/>
          </a:xfrm>
          <a:custGeom>
            <a:avLst/>
            <a:gdLst>
              <a:gd name="connsiteX0" fmla="*/ 0 w 9144000"/>
              <a:gd name="connsiteY0" fmla="*/ 0 h 3075120"/>
              <a:gd name="connsiteX1" fmla="*/ 9144000 w 9144000"/>
              <a:gd name="connsiteY1" fmla="*/ 0 h 3075120"/>
              <a:gd name="connsiteX2" fmla="*/ 9144000 w 9144000"/>
              <a:gd name="connsiteY2" fmla="*/ 3075120 h 3075120"/>
              <a:gd name="connsiteX3" fmla="*/ 5935980 w 9144000"/>
              <a:gd name="connsiteY3" fmla="*/ 3075120 h 3075120"/>
              <a:gd name="connsiteX4" fmla="*/ 5164968 w 9144000"/>
              <a:gd name="connsiteY4" fmla="*/ 3075120 h 3075120"/>
              <a:gd name="connsiteX5" fmla="*/ 1624358 w 9144000"/>
              <a:gd name="connsiteY5" fmla="*/ 3075120 h 3075120"/>
              <a:gd name="connsiteX6" fmla="*/ 1784351 w 9144000"/>
              <a:gd name="connsiteY6" fmla="*/ 2840072 h 3075120"/>
              <a:gd name="connsiteX7" fmla="*/ 1152128 w 9144000"/>
              <a:gd name="connsiteY7" fmla="*/ 2840072 h 3075120"/>
              <a:gd name="connsiteX8" fmla="*/ 1060429 w 9144000"/>
              <a:gd name="connsiteY8" fmla="*/ 2840072 h 3075120"/>
              <a:gd name="connsiteX9" fmla="*/ 1004494 w 9144000"/>
              <a:gd name="connsiteY9" fmla="*/ 2840072 h 3075120"/>
              <a:gd name="connsiteX10" fmla="*/ 80844 w 9144000"/>
              <a:gd name="connsiteY10" fmla="*/ 2840072 h 3075120"/>
              <a:gd name="connsiteX11" fmla="*/ 0 w 9144000"/>
              <a:gd name="connsiteY11" fmla="*/ 2840072 h 3075120"/>
              <a:gd name="connsiteX12" fmla="*/ 0 w 9144000"/>
              <a:gd name="connsiteY12" fmla="*/ 2833341 h 3075120"/>
              <a:gd name="connsiteX13" fmla="*/ 0 w 9144000"/>
              <a:gd name="connsiteY13" fmla="*/ 2049177 h 3075120"/>
              <a:gd name="connsiteX14" fmla="*/ 0 w 9144000"/>
              <a:gd name="connsiteY14" fmla="*/ 1619700 h 3075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144000" h="3075120">
                <a:moveTo>
                  <a:pt x="0" y="0"/>
                </a:moveTo>
                <a:lnTo>
                  <a:pt x="9144000" y="0"/>
                </a:lnTo>
                <a:lnTo>
                  <a:pt x="9144000" y="3075120"/>
                </a:lnTo>
                <a:lnTo>
                  <a:pt x="5935980" y="3075120"/>
                </a:lnTo>
                <a:lnTo>
                  <a:pt x="5164968" y="3075120"/>
                </a:lnTo>
                <a:lnTo>
                  <a:pt x="1624358" y="3075120"/>
                </a:lnTo>
                <a:lnTo>
                  <a:pt x="1784351" y="2840072"/>
                </a:lnTo>
                <a:lnTo>
                  <a:pt x="1152128" y="2840072"/>
                </a:lnTo>
                <a:lnTo>
                  <a:pt x="1060429" y="2840072"/>
                </a:lnTo>
                <a:lnTo>
                  <a:pt x="1004494" y="2840072"/>
                </a:lnTo>
                <a:lnTo>
                  <a:pt x="80844" y="2840072"/>
                </a:lnTo>
                <a:lnTo>
                  <a:pt x="0" y="2840072"/>
                </a:lnTo>
                <a:lnTo>
                  <a:pt x="0" y="2833341"/>
                </a:lnTo>
                <a:lnTo>
                  <a:pt x="0" y="2049177"/>
                </a:lnTo>
                <a:lnTo>
                  <a:pt x="0" y="16197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3075120"/>
            <a:ext cx="9144000" cy="20683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50110" y="3421395"/>
            <a:ext cx="7034810" cy="514738"/>
          </a:xfrm>
          <a:solidFill>
            <a:schemeClr val="bg1"/>
          </a:solidFill>
        </p:spPr>
        <p:txBody>
          <a:bodyPr wrap="none" lIns="72000" tIns="72000" rIns="72000" bIns="7200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7494134" y="1435688"/>
            <a:ext cx="2971940" cy="195814"/>
          </a:xfrm>
        </p:spPr>
        <p:txBody>
          <a:bodyPr tIns="36000" rIns="0" bIns="36000"/>
          <a:lstStyle>
            <a:lvl1pPr algn="l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44751" y="2848967"/>
            <a:ext cx="6740169" cy="514738"/>
          </a:xfrm>
          <a:solidFill>
            <a:schemeClr val="bg1"/>
          </a:solidFill>
        </p:spPr>
        <p:txBody>
          <a:bodyPr wrap="none" lIns="72000" tIns="72000" rIns="72000" bIns="72000" anchor="ctr">
            <a:noAutofit/>
          </a:bodyPr>
          <a:lstStyle>
            <a:lvl1pPr algn="l">
              <a:defRPr sz="2400" b="1" cap="all" baseline="0">
                <a:solidFill>
                  <a:srgbClr val="E10019"/>
                </a:solidFill>
              </a:defRPr>
            </a:lvl1pPr>
          </a:lstStyle>
          <a:p>
            <a:pPr lvl="0"/>
            <a:r>
              <a:rPr lang="de-DE" dirty="0" smtClean="0"/>
              <a:t>Präsentation Versorgungsrechner</a:t>
            </a:r>
            <a:endParaRPr lang="en-GB" dirty="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284007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57188" y="4095433"/>
            <a:ext cx="6048692" cy="246221"/>
          </a:xfrm>
        </p:spPr>
        <p:txBody>
          <a:bodyPr anchor="b"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8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4143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0" y="3715200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27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0060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423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6516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8698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10162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17892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1136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3452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00091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5100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2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531" y="1289606"/>
            <a:ext cx="7428619" cy="637849"/>
          </a:xfrm>
          <a:solidFill>
            <a:schemeClr val="bg1"/>
          </a:solidFill>
        </p:spPr>
        <p:txBody>
          <a:bodyPr wrap="none" lIns="72000" tIns="72000" rIns="72000" bIns="72000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3200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532" y="2821553"/>
            <a:ext cx="4021467" cy="453183"/>
          </a:xfrm>
          <a:solidFill>
            <a:schemeClr val="bg1"/>
          </a:solidFill>
        </p:spPr>
        <p:txBody>
          <a:bodyPr wrap="none" lIns="72000" tIns="72000" rIns="72000" bIns="72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59531" y="523632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9531" y="2055580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pic>
        <p:nvPicPr>
          <p:cNvPr id="28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816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8496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9982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59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7</a:t>
            </a:r>
            <a:endParaRPr lang="en-US" dirty="0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8</a:t>
            </a:r>
            <a:endParaRPr lang="en-US" dirty="0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9</a:t>
            </a:r>
            <a:endParaRPr lang="en-US" dirty="0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0</a:t>
            </a:r>
            <a:endParaRPr lang="en-US" dirty="0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1</a:t>
            </a:r>
            <a:endParaRPr lang="en-US" dirty="0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2</a:t>
            </a:r>
            <a:endParaRPr lang="en-US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3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3976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04148" y="1138204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1599642"/>
            <a:ext cx="5041317" cy="923330"/>
          </a:xfrm>
        </p:spPr>
        <p:txBody>
          <a:bodyPr anchor="ctr" anchorCtr="0"/>
          <a:lstStyle>
            <a:lvl1pPr>
              <a:spcBef>
                <a:spcPts val="0"/>
              </a:spcBef>
              <a:defRPr sz="3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24280" y="4515735"/>
            <a:ext cx="1061586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0913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103140" y="4667572"/>
            <a:ext cx="2319136" cy="218473"/>
          </a:xfrm>
        </p:spPr>
        <p:txBody>
          <a:bodyPr/>
          <a:lstStyle>
            <a:lvl1pPr>
              <a:defRPr/>
            </a:lvl1pPr>
          </a:lstStyle>
          <a:p>
            <a:fld id="{FB181AE4-8ACB-463A-B560-2158FE02DD5E}" type="datetime1">
              <a:rPr lang="de-DE" smtClean="0"/>
              <a:pPr/>
              <a:t>23.03.2021</a:t>
            </a:fld>
            <a:r>
              <a:rPr lang="de-DE" dirty="0" smtClean="0"/>
              <a:t> Präsentation Versorgungsrechner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4040076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103140" y="4667572"/>
            <a:ext cx="2043472" cy="218473"/>
          </a:xfrm>
        </p:spPr>
        <p:txBody>
          <a:bodyPr/>
          <a:lstStyle>
            <a:lvl1pPr>
              <a:defRPr/>
            </a:lvl1pPr>
          </a:lstStyle>
          <a:p>
            <a:fld id="{AC4D6F6C-B9FD-4DAF-942C-0B7FD56B2896}" type="datetime1">
              <a:rPr lang="de-DE" smtClean="0"/>
              <a:pPr/>
              <a:t>23.03.2021</a:t>
            </a:fld>
            <a:r>
              <a:rPr lang="de-DE" dirty="0" smtClean="0"/>
              <a:t> Versorgungsrechner on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Jörg Modrow</a:t>
            </a:r>
          </a:p>
        </p:txBody>
      </p:sp>
    </p:spTree>
    <p:extLst>
      <p:ext uri="{BB962C8B-B14F-4D97-AF65-F5344CB8AC3E}">
        <p14:creationId xmlns:p14="http://schemas.microsoft.com/office/powerpoint/2010/main" val="1428720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3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Versorgungsrechner on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Michael Zapf</a:t>
            </a:r>
          </a:p>
        </p:txBody>
      </p:sp>
    </p:spTree>
    <p:extLst>
      <p:ext uri="{BB962C8B-B14F-4D97-AF65-F5344CB8AC3E}">
        <p14:creationId xmlns:p14="http://schemas.microsoft.com/office/powerpoint/2010/main" val="18547578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gi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26587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"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/>
          <p:cNvSpPr/>
          <p:nvPr/>
        </p:nvSpPr>
        <p:spPr>
          <a:xfrm>
            <a:off x="0" y="4778322"/>
            <a:ext cx="9144000" cy="365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279134"/>
            <a:ext cx="8529485" cy="7201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110450"/>
            <a:ext cx="8529485" cy="137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03140" y="4667572"/>
            <a:ext cx="1926000" cy="218473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900" cap="none" baseline="0">
                <a:solidFill>
                  <a:schemeClr val="accent1"/>
                </a:solidFill>
              </a:defRPr>
            </a:lvl1pPr>
          </a:lstStyle>
          <a:p>
            <a:r>
              <a:rPr lang="de-DE" b="1" dirty="0" err="1"/>
              <a:t>M</a:t>
            </a:r>
            <a:r>
              <a:rPr lang="de-DE" dirty="0" err="1"/>
              <a:t>onats</a:t>
            </a:r>
            <a:r>
              <a:rPr lang="de-DE" b="1" dirty="0" err="1"/>
              <a:t>M</a:t>
            </a:r>
            <a:r>
              <a:rPr lang="de-DE" dirty="0" err="1"/>
              <a:t>eeting</a:t>
            </a:r>
            <a:r>
              <a:rPr lang="de-DE" dirty="0"/>
              <a:t> ZPD 3 – 09/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/>
        </p:nvSpPr>
        <p:spPr bwMode="gray">
          <a:xfrm>
            <a:off x="0" y="4643322"/>
            <a:ext cx="946800" cy="27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415" y="4838974"/>
            <a:ext cx="684897" cy="24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79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714" r:id="rId3"/>
    <p:sldLayoutId id="2147483663" r:id="rId4"/>
    <p:sldLayoutId id="2147483677" r:id="rId5"/>
    <p:sldLayoutId id="2147483678" r:id="rId6"/>
    <p:sldLayoutId id="2147483685" r:id="rId7"/>
    <p:sldLayoutId id="2147483712" r:id="rId8"/>
    <p:sldLayoutId id="2147483686" r:id="rId9"/>
    <p:sldLayoutId id="2147483687" r:id="rId10"/>
    <p:sldLayoutId id="2147483688" r:id="rId11"/>
    <p:sldLayoutId id="2147483684" r:id="rId12"/>
    <p:sldLayoutId id="2147483689" r:id="rId13"/>
    <p:sldLayoutId id="2147483690" r:id="rId14"/>
    <p:sldLayoutId id="2147483691" r:id="rId15"/>
    <p:sldLayoutId id="2147483692" r:id="rId16"/>
    <p:sldLayoutId id="2147483707" r:id="rId17"/>
    <p:sldLayoutId id="2147483693" r:id="rId18"/>
    <p:sldLayoutId id="2147483667" r:id="rId19"/>
    <p:sldLayoutId id="2147483710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spcBef>
          <a:spcPts val="400"/>
        </a:spcBef>
        <a:buClr>
          <a:schemeClr val="accent1"/>
        </a:buClr>
        <a:buSzPct val="150000"/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38163" indent="-268288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8038" indent="-269875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4A036F-4CBC-4C92-B01A-408CF99AECEA}" type="datetimeFigureOut">
              <a:rPr lang="de-DE" smtClean="0"/>
              <a:t>23.03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98D154-4C13-4A0B-B341-1C9BA032B4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9393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" b="31"/>
          <a:stretch>
            <a:fillRect/>
          </a:stretch>
        </p:blipFill>
        <p:spPr>
          <a:xfrm>
            <a:off x="0" y="6042"/>
            <a:ext cx="9144000" cy="3715200"/>
          </a:xfrm>
        </p:spPr>
      </p:pic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11A736B5-4F7A-4BD1-9C94-7EE6108E42F7}" type="datetime1">
              <a:rPr lang="de-DE" smtClean="0"/>
              <a:t>23.03.2021</a:t>
            </a:fld>
            <a:r>
              <a:rPr lang="de-DE" dirty="0" smtClean="0"/>
              <a:t>  </a:t>
            </a:r>
            <a:r>
              <a:rPr lang="de-DE" dirty="0"/>
              <a:t>|  ZPD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-1" y="6042"/>
            <a:ext cx="6976533" cy="3715200"/>
          </a:xfrm>
        </p:spPr>
        <p:txBody>
          <a:bodyPr/>
          <a:lstStyle/>
          <a:p>
            <a:r>
              <a:rPr lang="de-DE" dirty="0" smtClean="0"/>
              <a:t>Versorgungsrechner Onlin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2403282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Besondere Dienstz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788848"/>
            <a:ext cx="8534400" cy="2954655"/>
          </a:xfrm>
        </p:spPr>
        <p:txBody>
          <a:bodyPr/>
          <a:lstStyle/>
          <a:p>
            <a:pPr marL="342900" lvl="1" indent="-34290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b="1" dirty="0" smtClean="0"/>
              <a:t>Beurlaubungszeit im Beamtenverhältnis wegen Kindererziehung</a:t>
            </a:r>
            <a:endParaRPr lang="de-DE" sz="1400" dirty="0" smtClean="0"/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Kind vor 01.01.1992 geboren: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/>
              <a:t>Sechs Monate nach Geburt voll ruhegehaltfähig </a:t>
            </a:r>
            <a:r>
              <a:rPr lang="de-DE" sz="1200" dirty="0" smtClean="0">
                <a:sym typeface="Wingdings" panose="05000000000000000000" pitchFamily="2" charset="2"/>
              </a:rPr>
              <a:t> Dienstzeitenschlüssel 0640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>
                <a:sym typeface="Wingdings" panose="05000000000000000000" pitchFamily="2" charset="2"/>
              </a:rPr>
              <a:t>Danach nicht ruhegehaltfähig  Dienstzeitenschlüssel 0641 (bis Vollendung 10. Lebensjahr) oder 0604 (ab Vollendung 10. Lebensjahr)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>
                <a:sym typeface="Wingdings" panose="05000000000000000000" pitchFamily="2" charset="2"/>
              </a:rPr>
              <a:t>Keine Zahlung KEZ aber KEEZ ab 01.01.1992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>
                <a:sym typeface="Wingdings" panose="05000000000000000000" pitchFamily="2" charset="2"/>
              </a:rPr>
              <a:t>Kind ab 01.01.1992 geboren: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>
                <a:sym typeface="Wingdings" panose="05000000000000000000" pitchFamily="2" charset="2"/>
              </a:rPr>
              <a:t>Nicht ruhegehaltfähig </a:t>
            </a:r>
            <a:r>
              <a:rPr lang="de-DE" sz="1200" dirty="0">
                <a:sym typeface="Wingdings" panose="05000000000000000000" pitchFamily="2" charset="2"/>
              </a:rPr>
              <a:t> Dienstzeitenschlüssel 0641 (bis Vollendung 10. Lebensjahr) oder 0604 (ab Vollendung 10. Lebensjahr</a:t>
            </a:r>
            <a:r>
              <a:rPr lang="de-DE" sz="1200" dirty="0" smtClean="0">
                <a:sym typeface="Wingdings" panose="05000000000000000000" pitchFamily="2" charset="2"/>
              </a:rPr>
              <a:t>)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>
                <a:sym typeface="Wingdings" panose="05000000000000000000" pitchFamily="2" charset="2"/>
              </a:rPr>
              <a:t>Zahlung KEZ und KEE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C52AEED0-E02B-4189-84F5-7BB80B955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02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Tipps und Trick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60" y="790367"/>
            <a:ext cx="8534400" cy="1431674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Bei Mehrfachberechnungen mit unterschiedlichen Ruhestandsgründen vor Änderung des Ruhestandsgrund letzte Dienstzeit löschen und nach Änderung wieder eingeben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Dienstzeiten bitte chronologisch eingeb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C52AEED0-E02B-4189-84F5-7BB80B955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4062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ielen dank</a:t>
            </a:r>
          </a:p>
          <a:p>
            <a:r>
              <a:rPr lang="de-DE" dirty="0"/>
              <a:t>für Ihre Aufmerksamk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www.mediaserver.hamburg.de / Andreas Vallbrac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97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2521707" y="843558"/>
            <a:ext cx="360000" cy="360000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21707" y="1304409"/>
            <a:ext cx="360000" cy="360000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2521707" y="1765260"/>
            <a:ext cx="360000" cy="360000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2521707" y="2226111"/>
            <a:ext cx="360000" cy="360000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2521707" y="2686962"/>
            <a:ext cx="360000" cy="360000"/>
          </a:xfrm>
        </p:spPr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2521707" y="3147814"/>
            <a:ext cx="360000" cy="360000"/>
          </a:xfrm>
        </p:spPr>
        <p:txBody>
          <a:bodyPr/>
          <a:lstStyle/>
          <a:p>
            <a:r>
              <a:rPr lang="de-DE" dirty="0"/>
              <a:t>06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>
          <a:xfrm>
            <a:off x="2989759" y="900448"/>
            <a:ext cx="3707904" cy="246221"/>
          </a:xfrm>
        </p:spPr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2989759" y="1361300"/>
            <a:ext cx="3707904" cy="246221"/>
          </a:xfrm>
        </p:spPr>
        <p:txBody>
          <a:bodyPr/>
          <a:lstStyle/>
          <a:p>
            <a:r>
              <a:rPr lang="de-DE" dirty="0" smtClean="0"/>
              <a:t>Der Versorgungsrechner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2989759" y="1822150"/>
            <a:ext cx="3707904" cy="246221"/>
          </a:xfrm>
        </p:spPr>
        <p:txBody>
          <a:bodyPr/>
          <a:lstStyle/>
          <a:p>
            <a:r>
              <a:rPr lang="de-DE" dirty="0" smtClean="0"/>
              <a:t>Vorteile des Versorgungsrechners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6"/>
          </p:nvPr>
        </p:nvSpPr>
        <p:spPr>
          <a:xfrm>
            <a:off x="2989759" y="2283001"/>
            <a:ext cx="3707904" cy="246221"/>
          </a:xfrm>
        </p:spPr>
        <p:txBody>
          <a:bodyPr/>
          <a:lstStyle/>
          <a:p>
            <a:r>
              <a:rPr lang="de-DE" dirty="0" smtClean="0"/>
              <a:t>Vorbereitung der Berechnung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89759" y="2743852"/>
            <a:ext cx="3707904" cy="246221"/>
          </a:xfrm>
        </p:spPr>
        <p:txBody>
          <a:bodyPr/>
          <a:lstStyle/>
          <a:p>
            <a:r>
              <a:rPr lang="de-DE" dirty="0" smtClean="0"/>
              <a:t>Fallbeispiele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8"/>
          </p:nvPr>
        </p:nvSpPr>
        <p:spPr>
          <a:xfrm>
            <a:off x="2989759" y="3204705"/>
            <a:ext cx="3707904" cy="246221"/>
          </a:xfrm>
        </p:spPr>
        <p:txBody>
          <a:bodyPr/>
          <a:lstStyle/>
          <a:p>
            <a:r>
              <a:rPr lang="de-DE" dirty="0" smtClean="0"/>
              <a:t>Besondere Dienstzeiten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2521707" y="3604136"/>
            <a:ext cx="360000" cy="360000"/>
          </a:xfrm>
        </p:spPr>
        <p:txBody>
          <a:bodyPr/>
          <a:lstStyle/>
          <a:p>
            <a:r>
              <a:rPr lang="de-DE" dirty="0" smtClean="0"/>
              <a:t>07</a:t>
            </a:r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8"/>
          </p:nvPr>
        </p:nvSpPr>
        <p:spPr>
          <a:xfrm>
            <a:off x="2989759" y="3665558"/>
            <a:ext cx="3707904" cy="246221"/>
          </a:xfrm>
        </p:spPr>
        <p:txBody>
          <a:bodyPr/>
          <a:lstStyle/>
          <a:p>
            <a:r>
              <a:rPr lang="de-DE" dirty="0" smtClean="0"/>
              <a:t>Tipps und Trick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207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Der Versorgungsrechner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758236"/>
            <a:ext cx="8534400" cy="3391762"/>
          </a:xfrm>
        </p:spPr>
        <p:txBody>
          <a:bodyPr/>
          <a:lstStyle/>
          <a:p>
            <a:pPr marL="28575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>
                <a:cs typeface="Arial"/>
              </a:rPr>
              <a:t>Einsatz eines Versorgungsrechners </a:t>
            </a:r>
            <a:r>
              <a:rPr lang="de-DE" b="1" i="1" dirty="0">
                <a:cs typeface="Arial"/>
              </a:rPr>
              <a:t>online</a:t>
            </a:r>
            <a:r>
              <a:rPr lang="de-DE" b="1" dirty="0">
                <a:cs typeface="Arial"/>
              </a:rPr>
              <a:t>:</a:t>
            </a:r>
            <a:endParaRPr lang="de-DE" dirty="0">
              <a:cs typeface="Arial"/>
            </a:endParaRP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>
                <a:cs typeface="Arial"/>
              </a:rPr>
              <a:t>zur </a:t>
            </a:r>
            <a:r>
              <a:rPr lang="de-DE" dirty="0" smtClean="0">
                <a:cs typeface="Arial"/>
              </a:rPr>
              <a:t>Berechnung </a:t>
            </a:r>
            <a:r>
              <a:rPr lang="de-DE" dirty="0">
                <a:cs typeface="Arial"/>
              </a:rPr>
              <a:t>des voraussichtlichen Pensionsanspruchs (Self-Service)</a:t>
            </a: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/>
              <a:t>nahezu vollständige Ablösung der qualifizierten </a:t>
            </a:r>
            <a:r>
              <a:rPr lang="de-DE" dirty="0" smtClean="0"/>
              <a:t>Versorgungsberatung</a:t>
            </a:r>
            <a:endParaRPr lang="de-DE" dirty="0"/>
          </a:p>
          <a:p>
            <a:pPr marL="28440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>
                <a:cs typeface="Arial"/>
              </a:rPr>
              <a:t>Vertragspartner:</a:t>
            </a: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/>
              <a:t>Fa. </a:t>
            </a:r>
            <a:r>
              <a:rPr lang="de-DE" dirty="0" err="1"/>
              <a:t>Forty-Four</a:t>
            </a:r>
            <a:r>
              <a:rPr lang="de-DE" dirty="0"/>
              <a:t> (Software-Anpassung)</a:t>
            </a:r>
          </a:p>
          <a:p>
            <a:pPr marL="28440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>
                <a:cs typeface="Arial"/>
              </a:rPr>
              <a:t>Erforderlicher Änderungsbedarf: </a:t>
            </a:r>
          </a:p>
          <a:p>
            <a:pPr marL="858575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>
                <a:cs typeface="Arial"/>
              </a:rPr>
              <a:t>Anpassungen an das hamburgische Versorgungsrecht (Abweichungen z. B. bei der Sonderzahlung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de-DE" sz="1400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55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Vorteile des Versorgungsrechner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754380"/>
            <a:ext cx="8534400" cy="3323987"/>
          </a:xfrm>
        </p:spPr>
        <p:txBody>
          <a:bodyPr/>
          <a:lstStyle/>
          <a:p>
            <a:pPr marL="28575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 smtClean="0">
                <a:cs typeface="Arial"/>
              </a:rPr>
              <a:t>Ortsunabhängige</a:t>
            </a:r>
            <a:r>
              <a:rPr lang="de-DE" b="1" dirty="0">
                <a:cs typeface="Arial"/>
              </a:rPr>
              <a:t>, jederzeit mögliche Auskünfte für alle Beamtinnen und Beamten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>
                <a:cs typeface="Arial"/>
              </a:rPr>
              <a:t>Jederzeit Aktualisierungen wegen veränderter Lebenssachverhalte möglich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>
                <a:cs typeface="Arial"/>
              </a:rPr>
              <a:t>Reduzierung der schriftlichen Anträge auf Versorgungsberatung</a:t>
            </a: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>
                <a:cs typeface="Arial"/>
              </a:rPr>
              <a:t>Nur noch für besonders gelagerte Einzelfälle </a:t>
            </a:r>
            <a:r>
              <a:rPr lang="de-DE" dirty="0" smtClean="0">
                <a:cs typeface="Arial"/>
              </a:rPr>
              <a:t>(55. </a:t>
            </a:r>
            <a:r>
              <a:rPr lang="de-DE" dirty="0" err="1" smtClean="0">
                <a:cs typeface="Arial"/>
              </a:rPr>
              <a:t>Lj</a:t>
            </a:r>
            <a:r>
              <a:rPr lang="de-DE" dirty="0" smtClean="0">
                <a:cs typeface="Arial"/>
              </a:rPr>
              <a:t>. + Erstberechnung</a:t>
            </a:r>
            <a:r>
              <a:rPr lang="de-DE" dirty="0">
                <a:cs typeface="Arial"/>
              </a:rPr>
              <a:t>)</a:t>
            </a: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>
                <a:cs typeface="Arial"/>
              </a:rPr>
              <a:t>Folge-/Alternativberechnungen in jedem Fall über Versorgungsrechner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b="1" dirty="0" smtClean="0">
                <a:cs typeface="Arial"/>
              </a:rPr>
              <a:t>Keine </a:t>
            </a:r>
            <a:r>
              <a:rPr lang="de-DE" b="1" dirty="0">
                <a:cs typeface="Arial"/>
              </a:rPr>
              <a:t>Datenschutzrechtlichen Bedenken:</a:t>
            </a: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/>
              <a:t>Anonymisierte Dateneingaben</a:t>
            </a:r>
          </a:p>
          <a:p>
            <a:pPr marL="861750" lvl="2" indent="-28575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/>
              <a:t>Keine Schnittstellen zu Echtdaten</a:t>
            </a:r>
          </a:p>
          <a:p>
            <a:pPr marL="342900" indent="-342900">
              <a:buFont typeface="+mj-lt"/>
              <a:buAutoNum type="arabicPeriod"/>
            </a:pPr>
            <a:endParaRPr lang="de-DE" sz="1400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8274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Vorbereitung der Berechnung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60" y="759025"/>
            <a:ext cx="8534400" cy="3323987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b="0" dirty="0" smtClean="0"/>
              <a:t>Welche Daten werden benötigt, um den Versorgungsrechner bedienen zu können?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Persönliche Daten: Geburtsdatum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/>
              <a:t>Besoldungsdaten + Erfahrungsstufe zum zu berechnenden </a:t>
            </a:r>
            <a:r>
              <a:rPr lang="de-DE" dirty="0" smtClean="0"/>
              <a:t>Ruhestandsbeginn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Lebenslauf: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Studium 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Ausbildungszeiten 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Beamtenverhältnis auf Widerruf (endet mit dem Prüfungsdatum)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Begründung </a:t>
            </a:r>
            <a:r>
              <a:rPr lang="de-DE" dirty="0"/>
              <a:t>Beamten-/</a:t>
            </a:r>
            <a:r>
              <a:rPr lang="de-DE" dirty="0" smtClean="0"/>
              <a:t>Richterverhältnis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Teilzeiten </a:t>
            </a:r>
            <a:r>
              <a:rPr lang="de-DE" dirty="0"/>
              <a:t>in </a:t>
            </a:r>
            <a:r>
              <a:rPr lang="de-DE" dirty="0" smtClean="0"/>
              <a:t>Prozentsätz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529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Vorbereitung der Berechnung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60" y="806743"/>
            <a:ext cx="8534400" cy="1846659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/>
              <a:t>Eventuell vorliegende Rente (Betrag), auch: Versorgung aus Versorgungswerken für Rechtsanwältinnen und Rechtsanwälte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/>
              <a:t>Eventuell vorliegender Versorgungsausgleich aus Scheidung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/>
              <a:t>Geschätztes Einkommen bei Frage nach möglichem Hinzuverdienst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/>
              <a:t>Für eventuelle Berechnung KEZ/KEEZ Geburtsdatum </a:t>
            </a:r>
            <a:r>
              <a:rPr lang="de-DE" dirty="0" smtClean="0"/>
              <a:t>Kind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492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Fallbeispie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60" y="757879"/>
            <a:ext cx="8534400" cy="2354491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de-DE" dirty="0" smtClean="0"/>
              <a:t>Mehrstufige Juristenausbildung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</a:pPr>
            <a:r>
              <a:rPr lang="de-DE" sz="1400" b="1" dirty="0" smtClean="0"/>
              <a:t>Ruhegehaltfähige </a:t>
            </a:r>
            <a:r>
              <a:rPr lang="de-DE" sz="1400" b="1" dirty="0" smtClean="0"/>
              <a:t>Dienstzeiten: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sz="1200" dirty="0" smtClean="0"/>
              <a:t>Studium </a:t>
            </a:r>
            <a:r>
              <a:rPr lang="de-DE" sz="1200" dirty="0">
                <a:sym typeface="Wingdings" panose="05000000000000000000" pitchFamily="2" charset="2"/>
              </a:rPr>
              <a:t> Dienstzeitenschlüssel </a:t>
            </a:r>
            <a:r>
              <a:rPr lang="de-DE" sz="1200" dirty="0" smtClean="0">
                <a:sym typeface="Wingdings" panose="05000000000000000000" pitchFamily="2" charset="2"/>
              </a:rPr>
              <a:t>1200</a:t>
            </a:r>
            <a:endParaRPr lang="de-DE" sz="1200" dirty="0" smtClean="0"/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/>
              <a:t>Neues Recht (erfolgt automatisch) 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/>
              <a:t>Altes Recht: in der Regel 4 Jahre 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sz="1200" dirty="0" smtClean="0"/>
              <a:t>Referendariat: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/>
              <a:t>Im Beamtenverhältnis auf Widerruf voll ruhegehaltfähig </a:t>
            </a:r>
            <a:r>
              <a:rPr lang="de-DE" sz="1200" dirty="0" smtClean="0">
                <a:sym typeface="Wingdings" panose="05000000000000000000" pitchFamily="2" charset="2"/>
              </a:rPr>
              <a:t> </a:t>
            </a:r>
            <a:r>
              <a:rPr lang="de-DE" sz="1200" dirty="0" smtClean="0"/>
              <a:t>Dienstzeitenschlüssel 0607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/>
              <a:t>Im öffentlich-rechtlichen Ausbildungsverhältnis voll ruhegehaltfähig </a:t>
            </a:r>
            <a:r>
              <a:rPr lang="de-DE" sz="1200" dirty="0" smtClean="0">
                <a:sym typeface="Wingdings" panose="05000000000000000000" pitchFamily="2" charset="2"/>
              </a:rPr>
              <a:t> Dienstzeitenschlüssel 1206</a:t>
            </a:r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C52AEED0-E02B-4189-84F5-7BB80B955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707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Fallbeispie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60" y="751119"/>
            <a:ext cx="8534400" cy="3831818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e-DE" b="0" dirty="0" smtClean="0"/>
              <a:t>2</a:t>
            </a:r>
            <a:r>
              <a:rPr lang="de-DE" dirty="0" smtClean="0"/>
              <a:t>. Einstufige Juristenausbildung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</a:pPr>
            <a:r>
              <a:rPr lang="de-DE" sz="1400" b="1" dirty="0" smtClean="0"/>
              <a:t>Ruhegehaltfähige </a:t>
            </a:r>
            <a:r>
              <a:rPr lang="de-DE" sz="1400" b="1" dirty="0" smtClean="0"/>
              <a:t>Dienstzeiten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sz="1200" dirty="0"/>
              <a:t>Studium </a:t>
            </a:r>
            <a:r>
              <a:rPr lang="de-DE" sz="1200" dirty="0">
                <a:sym typeface="Wingdings" panose="05000000000000000000" pitchFamily="2" charset="2"/>
              </a:rPr>
              <a:t> Dienstzeitenschlüssel </a:t>
            </a:r>
            <a:r>
              <a:rPr lang="de-DE" sz="1200" dirty="0" smtClean="0">
                <a:sym typeface="Wingdings" panose="05000000000000000000" pitchFamily="2" charset="2"/>
              </a:rPr>
              <a:t>1200</a:t>
            </a:r>
            <a:endParaRPr lang="de-DE" sz="1200" dirty="0"/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/>
              <a:t>Neues Recht (erfolgt automatisch) 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/>
              <a:t>Altes </a:t>
            </a:r>
            <a:r>
              <a:rPr lang="de-DE" sz="1200" dirty="0"/>
              <a:t>Recht: </a:t>
            </a:r>
            <a:r>
              <a:rPr lang="de-DE" sz="1200" dirty="0" smtClean="0"/>
              <a:t>4 Jahre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sz="1200" dirty="0" smtClean="0"/>
              <a:t>Praktische Ausbildung </a:t>
            </a:r>
            <a:r>
              <a:rPr lang="de-DE" sz="1200" dirty="0" smtClean="0">
                <a:sym typeface="Wingdings" panose="05000000000000000000" pitchFamily="2" charset="2"/>
              </a:rPr>
              <a:t> Dienstzeitenschlüssel 1202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>
                <a:sym typeface="Wingdings" panose="05000000000000000000" pitchFamily="2" charset="2"/>
              </a:rPr>
              <a:t>Neues Recht voll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 smtClean="0">
                <a:sym typeface="Wingdings" panose="05000000000000000000" pitchFamily="2" charset="2"/>
              </a:rPr>
              <a:t>Altes Recht: 2 Jahre</a:t>
            </a:r>
            <a:r>
              <a:rPr lang="de-DE" sz="1200" dirty="0" smtClean="0"/>
              <a:t> </a:t>
            </a:r>
            <a:endParaRPr lang="de-DE" sz="1200" dirty="0"/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sz="1200" dirty="0" smtClean="0"/>
              <a:t>Referendariat</a:t>
            </a:r>
            <a:r>
              <a:rPr lang="de-DE" sz="1200" dirty="0"/>
              <a:t>: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/>
              <a:t>Im Beamtenverhältnis auf Widerruf voll ruhegehaltfähig </a:t>
            </a:r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dirty="0"/>
              <a:t>Dienstzeitenschlüssel 0607</a:t>
            </a:r>
          </a:p>
          <a:p>
            <a:pPr marL="1150938" lvl="4" indent="-342900">
              <a:lnSpc>
                <a:spcPct val="150000"/>
              </a:lnSpc>
              <a:spcBef>
                <a:spcPts val="0"/>
              </a:spcBef>
              <a:buSzPct val="100000"/>
              <a:buFont typeface="Wingdings" panose="05000000000000000000" pitchFamily="2" charset="2"/>
              <a:buChar char="Ø"/>
            </a:pPr>
            <a:r>
              <a:rPr lang="de-DE" sz="1200" dirty="0"/>
              <a:t>Im öffentlich-rechtlichen Ausbildungsverhältnis voll ruhegehaltfähig </a:t>
            </a:r>
            <a:r>
              <a:rPr lang="de-DE" sz="1200" dirty="0">
                <a:sym typeface="Wingdings" panose="05000000000000000000" pitchFamily="2" charset="2"/>
              </a:rPr>
              <a:t> Dienstzeitenschlüssel </a:t>
            </a:r>
            <a:r>
              <a:rPr lang="de-DE" sz="1200" dirty="0" smtClean="0">
                <a:sym typeface="Wingdings" panose="05000000000000000000" pitchFamily="2" charset="2"/>
              </a:rPr>
              <a:t>1206</a:t>
            </a:r>
          </a:p>
          <a:p>
            <a:pPr marL="612775" lvl="2" indent="-342900">
              <a:lnSpc>
                <a:spcPct val="150000"/>
              </a:lnSpc>
              <a:spcBef>
                <a:spcPts val="0"/>
              </a:spcBef>
              <a:buSzPct val="100000"/>
            </a:pPr>
            <a:r>
              <a:rPr lang="de-DE" sz="1400" b="1" dirty="0">
                <a:sym typeface="Wingdings" panose="05000000000000000000" pitchFamily="2" charset="2"/>
              </a:rPr>
              <a:t>Vereinfachte </a:t>
            </a:r>
            <a:r>
              <a:rPr lang="de-DE" sz="1400" b="1" dirty="0" smtClean="0">
                <a:sym typeface="Wingdings" panose="05000000000000000000" pitchFamily="2" charset="2"/>
              </a:rPr>
              <a:t>Eingabe möglich 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sz="1200" dirty="0">
                <a:sym typeface="Wingdings" panose="05000000000000000000" pitchFamily="2" charset="2"/>
              </a:rPr>
              <a:t>Zusammenfassung des Studiums in einen Zeitraum und der praktischen Ausbildungen in einen Zeitraum</a:t>
            </a:r>
            <a:endParaRPr lang="de-DE" sz="1200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690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0299C66-4F5B-4865-A328-BD006812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 smtClean="0"/>
              <a:t>Besondere Dienstz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F24BBA0-CCEF-4AEE-865C-608D19455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8EC6161E-A092-4D58-9245-C38EFF634A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860" y="790367"/>
            <a:ext cx="8534400" cy="3416320"/>
          </a:xfrm>
        </p:spPr>
        <p:txBody>
          <a:bodyPr/>
          <a:lstStyle/>
          <a:p>
            <a:pPr marL="342900" lvl="1" indent="-34290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b="1" dirty="0" smtClean="0"/>
              <a:t>Wehrdienst/Zivildienst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Voll ruhegehaltfähig </a:t>
            </a:r>
            <a:r>
              <a:rPr lang="de-DE" dirty="0" smtClean="0">
                <a:sym typeface="Wingdings" panose="05000000000000000000" pitchFamily="2" charset="2"/>
              </a:rPr>
              <a:t> Dienstzeitenschlüssel 0800 (berufsmäßig) oder 0900 (nicht berufsmäßig</a:t>
            </a:r>
            <a:r>
              <a:rPr lang="de-DE" sz="1200" dirty="0" smtClean="0">
                <a:sym typeface="Wingdings" panose="05000000000000000000" pitchFamily="2" charset="2"/>
              </a:rPr>
              <a:t>)</a:t>
            </a:r>
          </a:p>
          <a:p>
            <a:pPr marL="342900" lvl="1" indent="-34290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b="1" dirty="0" smtClean="0"/>
              <a:t>Rechtsanwaltszeit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Zur Hälfte ruhegehaltfähig bis maximal 10 Jahre </a:t>
            </a:r>
            <a:r>
              <a:rPr lang="de-DE" dirty="0" smtClean="0">
                <a:sym typeface="Wingdings" panose="05000000000000000000" pitchFamily="2" charset="2"/>
              </a:rPr>
              <a:t> Dienstzeitenschlüssel 1102</a:t>
            </a:r>
            <a:endParaRPr lang="de-DE" sz="1200" dirty="0" smtClean="0"/>
          </a:p>
          <a:p>
            <a:pPr marL="342900" lvl="1" indent="-34290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b="1" dirty="0" smtClean="0"/>
              <a:t>Beurlaubung während Referendariat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 smtClean="0"/>
              <a:t>Nicht ruhegehaltfähig </a:t>
            </a:r>
            <a:r>
              <a:rPr lang="de-DE" dirty="0" smtClean="0">
                <a:sym typeface="Wingdings" panose="05000000000000000000" pitchFamily="2" charset="2"/>
              </a:rPr>
              <a:t> Dienstzeitenschlüssel 0604 im </a:t>
            </a:r>
            <a:r>
              <a:rPr lang="de-DE" dirty="0" err="1" smtClean="0">
                <a:sym typeface="Wingdings" panose="05000000000000000000" pitchFamily="2" charset="2"/>
              </a:rPr>
              <a:t>B.a.W.</a:t>
            </a:r>
            <a:r>
              <a:rPr lang="de-DE" dirty="0" smtClean="0">
                <a:sym typeface="Wingdings" panose="05000000000000000000" pitchFamily="2" charset="2"/>
              </a:rPr>
              <a:t> ohne Kindererziehung, 0641 im </a:t>
            </a:r>
            <a:r>
              <a:rPr lang="de-DE" dirty="0" err="1" smtClean="0">
                <a:sym typeface="Wingdings" panose="05000000000000000000" pitchFamily="2" charset="2"/>
              </a:rPr>
              <a:t>B.a.W.</a:t>
            </a:r>
            <a:r>
              <a:rPr lang="de-DE" dirty="0" smtClean="0">
                <a:sym typeface="Wingdings" panose="05000000000000000000" pitchFamily="2" charset="2"/>
              </a:rPr>
              <a:t> mit Kindererziehung oder 1202 im öffentlich-rechtlichen Ausbildungsverhältnis mit Teilzeit = 0/1</a:t>
            </a:r>
            <a:endParaRPr lang="de-DE" sz="1200" dirty="0" smtClean="0">
              <a:sym typeface="Wingdings" panose="05000000000000000000" pitchFamily="2" charset="2"/>
            </a:endParaRPr>
          </a:p>
          <a:p>
            <a:pPr marL="342900" lvl="1" indent="-34290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b="1" dirty="0">
                <a:sym typeface="Wingdings" panose="05000000000000000000" pitchFamily="2" charset="2"/>
              </a:rPr>
              <a:t>Beurlaubungszeit im Beamtenverhältnis ohne Kindererziehung</a:t>
            </a:r>
          </a:p>
          <a:p>
            <a:pPr marL="881063" lvl="3" indent="-342900">
              <a:lnSpc>
                <a:spcPct val="150000"/>
              </a:lnSpc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de-DE" dirty="0">
                <a:sym typeface="Wingdings" panose="05000000000000000000" pitchFamily="2" charset="2"/>
              </a:rPr>
              <a:t>Nicht ruhegehaltfähig  Dienstzeitenschlüssel </a:t>
            </a:r>
            <a:r>
              <a:rPr lang="de-DE" dirty="0" smtClean="0">
                <a:sym typeface="Wingdings" panose="05000000000000000000" pitchFamily="2" charset="2"/>
              </a:rPr>
              <a:t>0604</a:t>
            </a:r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8667245-F7EF-49D1-957A-7E0E0322F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C52AEED0-E02B-4189-84F5-7BB80B955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5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mium_Vorlage_16_9_scr15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Präsentation5" id="{C9B8DE8A-FCF7-49DD-B7F9-6E12F2723769}" vid="{5AA8C71D-46B7-40DC-99EF-B13F058AF6F8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8935149FA9344389ADBF2C354FB3C2" ma:contentTypeVersion="0" ma:contentTypeDescription="Ein neues Dokument erstellen." ma:contentTypeScope="" ma:versionID="82f47ff2d20e8ab5f3ac20af2e6040b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AF6E49-55B4-4AA9-B728-64E186621FBB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0AAC76B-10E0-46EA-ACF9-A80E645286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AD01BA2-01C0-4082-8032-1886D2D6FDD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-ZPD 16x9_reduziert</Template>
  <TotalTime>0</TotalTime>
  <Words>609</Words>
  <Application>Microsoft Office PowerPoint</Application>
  <PresentationFormat>Bildschirmpräsentation (16:9)</PresentationFormat>
  <Paragraphs>123</Paragraphs>
  <Slides>12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Courier New</vt:lpstr>
      <vt:lpstr>Wingdings</vt:lpstr>
      <vt:lpstr>Premium_Vorlage_16_9_scr15</vt:lpstr>
      <vt:lpstr>Benutzerdefiniertes Design</vt:lpstr>
      <vt:lpstr>think-cell Folie</vt:lpstr>
      <vt:lpstr>PowerPoint-Präsentation</vt:lpstr>
      <vt:lpstr>PowerPoint-Präsentation</vt:lpstr>
      <vt:lpstr>Der Versorgungsrechner</vt:lpstr>
      <vt:lpstr>Vorteile des Versorgungsrechners</vt:lpstr>
      <vt:lpstr>Vorbereitung der Berechnung</vt:lpstr>
      <vt:lpstr>Vorbereitung der Berechnung</vt:lpstr>
      <vt:lpstr>Fallbeispiele</vt:lpstr>
      <vt:lpstr>Fallbeispiele</vt:lpstr>
      <vt:lpstr>Besondere Dienstzeiten</vt:lpstr>
      <vt:lpstr>Besondere Dienstzeiten</vt:lpstr>
      <vt:lpstr>Tipps und Tricks</vt:lpstr>
      <vt:lpstr>PowerPoint-Präsentation</vt:lpstr>
    </vt:vector>
  </TitlesOfParts>
  <Manager>Vorname Nachname</Manager>
  <Company>.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remium Vorlage</dc:subject>
  <dc:creator>Weger, Lars</dc:creator>
  <dc:description>Für die PowerPoint Version 2010 optimierte Vorlage</dc:description>
  <cp:lastModifiedBy>Walter, Alexander</cp:lastModifiedBy>
  <cp:revision>58</cp:revision>
  <cp:lastPrinted>2016-12-22T13:41:06Z</cp:lastPrinted>
  <dcterms:created xsi:type="dcterms:W3CDTF">2020-08-24T14:31:01Z</dcterms:created>
  <dcterms:modified xsi:type="dcterms:W3CDTF">2021-03-23T16:0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8935149FA9344389ADBF2C354FB3C2</vt:lpwstr>
  </property>
</Properties>
</file>